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2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&lt;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vni Tong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1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2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3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tails of actions planned for the new lrearning or overcoming the challenge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planned timeline to implement the actions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same by the end of the week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Details of any group activity</a:t>
            </a:r>
          </a:p>
          <a:p>
            <a:r>
              <a:rPr lang="en-US" sz="2000" dirty="0"/>
              <a:t>Details of any funny incident which had an element of new learning for this week’s topic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[Add a graphic or a picture of how you/your team enjoyed the new learning]</a:t>
            </a:r>
          </a:p>
        </p:txBody>
      </p:sp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Quick summary</a:t>
            </a:r>
          </a:p>
          <a:p>
            <a:pPr>
              <a:lnSpc>
                <a:spcPct val="100000"/>
              </a:lnSpc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1800" dirty="0"/>
              <a:t>Importance of topics of upcoming week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Connectivity of topics from current week</a:t>
            </a:r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Love is the only thing that matters at all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Love for others, love for self, love for lif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Everything else is just a distraction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cat in a car&#10;&#10;Description automatically generated">
            <a:extLst>
              <a:ext uri="{FF2B5EF4-FFF2-40B4-BE49-F238E27FC236}">
                <a16:creationId xmlns:a16="http://schemas.microsoft.com/office/drawing/2014/main" id="{F4ADE540-8C86-DB9E-C0A9-A2AAA39B7CD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395" y="2023805"/>
            <a:ext cx="3269515" cy="369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3155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dirty="0"/>
              <a:t>Email writing is essential for clear and professional communication. It involves structuring messages effectively and using the right ton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Key learning: </a:t>
            </a:r>
            <a:r>
              <a:rPr lang="en-GB" sz="2000" dirty="0"/>
              <a:t>The key learning is the importance of clarity and brevity in emails to ensure the message is understood.</a:t>
            </a:r>
            <a:endParaRPr lang="en-US" sz="2000" dirty="0"/>
          </a:p>
          <a:p>
            <a:r>
              <a:rPr lang="en-US" sz="2000" dirty="0"/>
              <a:t>Key takeaway: </a:t>
            </a:r>
            <a:r>
              <a:rPr lang="en-GB" sz="2000" dirty="0"/>
              <a:t>Well-written emails enhance communication efficiency and professionalism.</a:t>
            </a:r>
            <a:endParaRPr lang="en-US" sz="2000" dirty="0"/>
          </a:p>
          <a:p>
            <a:r>
              <a:rPr lang="en-GB" sz="2000" dirty="0"/>
              <a:t>In the Energy sector, clear emails help coordinate projects and share critical updates efficiently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dirty="0"/>
              <a:t>Stakeholder management involves identifying and engaging with individuals or groups who have an interest in a project or organization. Effective stakeholder management ensures their needs and expectations are met.</a:t>
            </a:r>
          </a:p>
          <a:p>
            <a:r>
              <a:rPr lang="en-US" sz="2000" dirty="0"/>
              <a:t>Key learning: The </a:t>
            </a:r>
            <a:r>
              <a:rPr lang="en-GB" sz="2000" dirty="0"/>
              <a:t>importance of clear communication and building strong relationships with stakeholders to ensure project success.</a:t>
            </a:r>
            <a:endParaRPr lang="en-US" sz="2000" dirty="0"/>
          </a:p>
          <a:p>
            <a:r>
              <a:rPr lang="en-US" sz="2000" dirty="0"/>
              <a:t>Key takeaway: </a:t>
            </a:r>
            <a:r>
              <a:rPr lang="en-GB" sz="2000" dirty="0"/>
              <a:t>Engaging stakeholders effectively can lead to better project outcomes and increased support.</a:t>
            </a:r>
            <a:endParaRPr lang="en-US" sz="2000" dirty="0"/>
          </a:p>
          <a:p>
            <a:r>
              <a:rPr lang="en-US" sz="2000" dirty="0"/>
              <a:t>I</a:t>
            </a:r>
            <a:r>
              <a:rPr lang="en-GB" sz="2000" dirty="0"/>
              <a:t>n the Energy sector, managing stakeholders is crucial for gaining approvals, ensuring compliance, and fostering collaboration on project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Trust and Integrit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dirty="0"/>
              <a:t>Trust and integrity are fundamental principles that guide ethical </a:t>
            </a:r>
            <a:r>
              <a:rPr lang="en-GB" sz="2000" dirty="0" err="1"/>
              <a:t>behavior</a:t>
            </a:r>
            <a:r>
              <a:rPr lang="en-GB" sz="2000" dirty="0"/>
              <a:t> and foster reliable relationships. They involve being honest, transparent, and consistent in actions and decisions.</a:t>
            </a:r>
            <a:endParaRPr lang="en-US" sz="2000" dirty="0"/>
          </a:p>
          <a:p>
            <a:r>
              <a:rPr lang="en-US" sz="2000" dirty="0"/>
              <a:t>T</a:t>
            </a:r>
            <a:r>
              <a:rPr lang="en-GB" sz="2000" dirty="0"/>
              <a:t>he key learning is that maintaining trust and integrity builds credibility and strengthens relationships, both personally and professionally.</a:t>
            </a:r>
            <a:endParaRPr lang="en-US" sz="2000" dirty="0"/>
          </a:p>
          <a:p>
            <a:r>
              <a:rPr lang="en-GB" sz="2000" dirty="0"/>
              <a:t>Upholding trust and integrity leads to a positive reputation and long-term success.</a:t>
            </a:r>
            <a:endParaRPr lang="en-US" sz="2000" dirty="0"/>
          </a:p>
          <a:p>
            <a:r>
              <a:rPr lang="en-GB" sz="2000" dirty="0"/>
              <a:t>In the Energy sector, trust and integrity are crucial for ensuring safety, compliance, and fostering collaboration among stakeholder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98</TotalTime>
  <Words>759</Words>
  <Application>Microsoft Office PowerPoint</Application>
  <PresentationFormat>Widescreen</PresentationFormat>
  <Paragraphs>101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Trust and Integrity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Tonger, Avni SBOBNG-PTIV/LE</cp:lastModifiedBy>
  <cp:revision>500</cp:revision>
  <dcterms:created xsi:type="dcterms:W3CDTF">2022-01-18T12:35:56Z</dcterms:created>
  <dcterms:modified xsi:type="dcterms:W3CDTF">2024-09-01T19:2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